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5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759358288770054E-2"/>
          <c:y val="3.4759358288770054E-2"/>
          <c:w val="0.93048128342245995"/>
          <c:h val="0.9304812834224599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824-4EAE-BAD7-3399C6DAF30A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824-4EAE-BAD7-3399C6DAF30A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824-4EAE-BAD7-3399C6DAF3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759358288770054E-2"/>
          <c:y val="3.4759358288770054E-2"/>
          <c:w val="0.93048128342245995"/>
          <c:h val="0.9304812834224599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261-4AE6-BC61-07A46873FE1F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261-4AE6-BC61-07A46873FE1F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80</c:v>
                </c:pt>
                <c:pt idx="1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61-4AE6-BC61-07A46873FE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36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759358288770054E-2"/>
          <c:y val="3.4759358288770054E-2"/>
          <c:w val="0.93048128342245995"/>
          <c:h val="0.9304812834224599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493-4438-8B74-70B77F98547B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493-4438-8B74-70B77F98547B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93-4438-8B74-70B77F9854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44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759358288770054E-2"/>
          <c:y val="3.4759358288770054E-2"/>
          <c:w val="0.93048128342245995"/>
          <c:h val="0.9304812834224599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419-44A4-949D-2F6C81CB8135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419-44A4-949D-2F6C81CB8135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0</c:v>
                </c:pt>
                <c:pt idx="1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19-44A4-949D-2F6C81CB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62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970250-0115-4556-BA75-8F3E61E6283A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E8800F-D911-477E-85B3-CC85C2AB961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797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942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38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891310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058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068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14961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37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259429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oleObject" Target="../embeddings/oleObject5.bin"/><Relationship Id="rId18" Type="http://schemas.openxmlformats.org/officeDocument/2006/relationships/chart" Target="../charts/chart4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notesSlide" Target="../notesSlides/notesSlide1.xml"/><Relationship Id="rId17" Type="http://schemas.openxmlformats.org/officeDocument/2006/relationships/chart" Target="../charts/chart3.xml"/><Relationship Id="rId2" Type="http://schemas.openxmlformats.org/officeDocument/2006/relationships/tags" Target="../tags/tag5.xml"/><Relationship Id="rId16" Type="http://schemas.openxmlformats.org/officeDocument/2006/relationships/chart" Target="../charts/chart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8.xml"/><Relationship Id="rId15" Type="http://schemas.openxmlformats.org/officeDocument/2006/relationships/chart" Target="../charts/chart1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13" imgW="349" imgH="350" progId="TCLayout.ActiveDocument.1">
                  <p:embed/>
                </p:oleObj>
              </mc:Choice>
              <mc:Fallback>
                <p:oleObj name="think-cell 幻灯片" r:id="rId13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18">
            <a:extLst>
              <a:ext uri="{FF2B5EF4-FFF2-40B4-BE49-F238E27FC236}">
                <a16:creationId xmlns:a16="http://schemas.microsoft.com/office/drawing/2014/main" id="{8AC7C0B4-DCBC-363E-F962-E6F46B45032B}"/>
              </a:ext>
            </a:extLst>
          </p:cNvPr>
          <p:cNvSpPr>
            <a:spLocks/>
          </p:cNvSpPr>
          <p:nvPr/>
        </p:nvSpPr>
        <p:spPr>
          <a:xfrm>
            <a:off x="8814514" y="-622179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e rings are created using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doughnut charts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hange the percentage valu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follow these steps: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Double-click a ring to open the chart's datashee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n the datasheet, enter a percentage value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e percentage values on the slide are linked to the think-cell chart and will update accordingly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7" name="Gleichschenkliges Dreieck 39">
            <a:extLst>
              <a:ext uri="{FF2B5EF4-FFF2-40B4-BE49-F238E27FC236}">
                <a16:creationId xmlns:a16="http://schemas.microsoft.com/office/drawing/2014/main" id="{030F4042-BC07-740C-E1A0-14AF984B2E3C}"/>
              </a:ext>
            </a:extLst>
          </p:cNvPr>
          <p:cNvSpPr>
            <a:spLocks/>
          </p:cNvSpPr>
          <p:nvPr/>
        </p:nvSpPr>
        <p:spPr>
          <a:xfrm rot="10800000">
            <a:off x="1555750" y="2768600"/>
            <a:ext cx="303379" cy="160338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Gleichschenkliges Dreieck 39">
            <a:extLst>
              <a:ext uri="{FF2B5EF4-FFF2-40B4-BE49-F238E27FC236}">
                <a16:creationId xmlns:a16="http://schemas.microsoft.com/office/drawing/2014/main" id="{8B22D257-9095-D3F6-8780-90DF69BC2320}"/>
              </a:ext>
            </a:extLst>
          </p:cNvPr>
          <p:cNvSpPr>
            <a:spLocks/>
          </p:cNvSpPr>
          <p:nvPr/>
        </p:nvSpPr>
        <p:spPr>
          <a:xfrm rot="10800000">
            <a:off x="4492625" y="2768600"/>
            <a:ext cx="304800" cy="160338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Gleichschenkliges Dreieck 39">
            <a:extLst>
              <a:ext uri="{FF2B5EF4-FFF2-40B4-BE49-F238E27FC236}">
                <a16:creationId xmlns:a16="http://schemas.microsoft.com/office/drawing/2014/main" id="{0AB28DCC-B1EB-B3C8-AB6F-639667FB8153}"/>
              </a:ext>
            </a:extLst>
          </p:cNvPr>
          <p:cNvSpPr>
            <a:spLocks/>
          </p:cNvSpPr>
          <p:nvPr/>
        </p:nvSpPr>
        <p:spPr>
          <a:xfrm rot="10800000">
            <a:off x="7431088" y="2768600"/>
            <a:ext cx="303379" cy="160338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Gleichschenkliges Dreieck 39">
            <a:extLst>
              <a:ext uri="{FF2B5EF4-FFF2-40B4-BE49-F238E27FC236}">
                <a16:creationId xmlns:a16="http://schemas.microsoft.com/office/drawing/2014/main" id="{1D84C183-4D7B-E420-4DBC-6E5001B4D7D4}"/>
              </a:ext>
            </a:extLst>
          </p:cNvPr>
          <p:cNvSpPr>
            <a:spLocks/>
          </p:cNvSpPr>
          <p:nvPr/>
        </p:nvSpPr>
        <p:spPr>
          <a:xfrm rot="10800000">
            <a:off x="10369550" y="2768600"/>
            <a:ext cx="303379" cy="160338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E5ABC979-66D2-6DBC-94A5-67188B36F67F}"/>
              </a:ext>
            </a:extLst>
          </p:cNvPr>
          <p:cNvSpPr>
            <a:spLocks/>
          </p:cNvSpPr>
          <p:nvPr/>
        </p:nvSpPr>
        <p:spPr bwMode="gray">
          <a:xfrm>
            <a:off x="419101" y="1587500"/>
            <a:ext cx="2577578" cy="369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}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BAB4DF3C-5F0C-458E-6EE0-FE4F254E723F}"/>
              </a:ext>
            </a:extLst>
          </p:cNvPr>
          <p:cNvSpPr>
            <a:spLocks/>
          </p:cNvSpPr>
          <p:nvPr/>
        </p:nvSpPr>
        <p:spPr bwMode="gray">
          <a:xfrm>
            <a:off x="419101" y="2095499"/>
            <a:ext cx="257757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173277FC-629E-5D7A-DD44-B0540E1798E7}"/>
              </a:ext>
            </a:extLst>
          </p:cNvPr>
          <p:cNvSpPr>
            <a:spLocks/>
          </p:cNvSpPr>
          <p:nvPr/>
        </p:nvSpPr>
        <p:spPr bwMode="gray">
          <a:xfrm>
            <a:off x="3356679" y="1587500"/>
            <a:ext cx="2577578" cy="369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2}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B63573E1-4CCD-E60D-042E-5357C967605A}"/>
              </a:ext>
            </a:extLst>
          </p:cNvPr>
          <p:cNvSpPr>
            <a:spLocks/>
          </p:cNvSpPr>
          <p:nvPr/>
        </p:nvSpPr>
        <p:spPr bwMode="gray">
          <a:xfrm>
            <a:off x="3356679" y="2095499"/>
            <a:ext cx="257757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2_content}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1EF74C13-1CAB-0919-475A-8812D652FCF1}"/>
              </a:ext>
            </a:extLst>
          </p:cNvPr>
          <p:cNvSpPr>
            <a:spLocks/>
          </p:cNvSpPr>
          <p:nvPr/>
        </p:nvSpPr>
        <p:spPr bwMode="gray">
          <a:xfrm>
            <a:off x="6294257" y="1587500"/>
            <a:ext cx="2577578" cy="369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3}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2B040CE7-52CA-4762-F9D1-57565EB270D2}"/>
              </a:ext>
            </a:extLst>
          </p:cNvPr>
          <p:cNvSpPr>
            <a:spLocks/>
          </p:cNvSpPr>
          <p:nvPr/>
        </p:nvSpPr>
        <p:spPr bwMode="gray">
          <a:xfrm>
            <a:off x="6294257" y="2095499"/>
            <a:ext cx="257757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3_content}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99DBA907-EF19-0324-C361-C7FBA117E118}"/>
              </a:ext>
            </a:extLst>
          </p:cNvPr>
          <p:cNvSpPr>
            <a:spLocks/>
          </p:cNvSpPr>
          <p:nvPr/>
        </p:nvSpPr>
        <p:spPr bwMode="gray">
          <a:xfrm>
            <a:off x="9231835" y="1587500"/>
            <a:ext cx="2577578" cy="369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4}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918CFAB0-9DE8-44B4-8F9E-C44817990405}"/>
              </a:ext>
            </a:extLst>
          </p:cNvPr>
          <p:cNvSpPr>
            <a:spLocks/>
          </p:cNvSpPr>
          <p:nvPr/>
        </p:nvSpPr>
        <p:spPr bwMode="gray">
          <a:xfrm>
            <a:off x="9231835" y="2095499"/>
            <a:ext cx="257757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4_content}</a:t>
            </a:r>
          </a:p>
        </p:txBody>
      </p:sp>
      <p:graphicFrame>
        <p:nvGraphicFramePr>
          <p:cNvPr id="27" name="Chart 3">
            <a:extLst>
              <a:ext uri="{FF2B5EF4-FFF2-40B4-BE49-F238E27FC236}">
                <a16:creationId xmlns:a16="http://schemas.microsoft.com/office/drawing/2014/main" id="{89918888-69D3-4FB1-858C-70C986E53FD5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9337675" y="3155950"/>
          <a:ext cx="2374900" cy="237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490BF6A-9479-E71D-B06F-BB633276F5D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9972675" y="4098925"/>
            <a:ext cx="110807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3200" b="1" dirty="0">
                <a:solidFill>
                  <a:srgbClr val="1A7449"/>
                </a:solidFill>
              </a:rPr>
              <a:t>{bullet_4_number}</a:t>
            </a:r>
            <a:endParaRPr lang="en-US" altLang="zh-CN" sz="3200" b="1" dirty="0">
              <a:solidFill>
                <a:srgbClr val="1A7449"/>
              </a:solidFill>
            </a:endParaRPr>
          </a:p>
        </p:txBody>
      </p:sp>
      <p:graphicFrame>
        <p:nvGraphicFramePr>
          <p:cNvPr id="28" name="Chart 3">
            <a:extLst>
              <a:ext uri="{FF2B5EF4-FFF2-40B4-BE49-F238E27FC236}">
                <a16:creationId xmlns:a16="http://schemas.microsoft.com/office/drawing/2014/main" id="{12FF8DDA-B5D9-4AB0-8935-70EBBD5A3BA6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6400800" y="3155950"/>
          <a:ext cx="2374900" cy="237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6095A85-027C-1899-898C-DA4973BA07E7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7134225" y="4098925"/>
            <a:ext cx="909638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3200" b="1" dirty="0">
                <a:solidFill>
                  <a:srgbClr val="1A7449"/>
                </a:solidFill>
              </a:rPr>
              <a:t>{bullet_3_number}</a:t>
            </a:r>
            <a:endParaRPr lang="en-US" altLang="zh-CN" sz="3200" b="1" dirty="0">
              <a:solidFill>
                <a:srgbClr val="1A7449"/>
              </a:solidFill>
            </a:endParaRPr>
          </a:p>
        </p:txBody>
      </p:sp>
      <p:graphicFrame>
        <p:nvGraphicFramePr>
          <p:cNvPr id="29" name="Chart 3">
            <a:extLst>
              <a:ext uri="{FF2B5EF4-FFF2-40B4-BE49-F238E27FC236}">
                <a16:creationId xmlns:a16="http://schemas.microsoft.com/office/drawing/2014/main" id="{97BB40BB-C459-4C56-8221-47D5BEA32EE7}"/>
              </a:ext>
            </a:extLst>
          </p:cNvPr>
          <p:cNvGraphicFramePr/>
          <p:nvPr>
            <p:custDataLst>
              <p:tags r:id="rId7"/>
            </p:custDataLst>
            <p:extLst/>
          </p:nvPr>
        </p:nvGraphicFramePr>
        <p:xfrm>
          <a:off x="3462338" y="3155950"/>
          <a:ext cx="2374900" cy="237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853FB9A-CF74-B82A-7EAD-D9FE2D3C8C3C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198938" y="4098925"/>
            <a:ext cx="903288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3200" b="1" dirty="0">
                <a:solidFill>
                  <a:srgbClr val="1A7449"/>
                </a:solidFill>
              </a:rPr>
              <a:t>{bullet_2_number}</a:t>
            </a:r>
            <a:endParaRPr lang="en-US" altLang="zh-CN" sz="3200" b="1" dirty="0">
              <a:solidFill>
                <a:srgbClr val="1A7449"/>
              </a:solidFill>
            </a:endParaRPr>
          </a:p>
        </p:txBody>
      </p:sp>
      <p:graphicFrame>
        <p:nvGraphicFramePr>
          <p:cNvPr id="31" name="Chart 3">
            <a:extLst>
              <a:ext uri="{FF2B5EF4-FFF2-40B4-BE49-F238E27FC236}">
                <a16:creationId xmlns:a16="http://schemas.microsoft.com/office/drawing/2014/main" id="{D537A09A-0BEE-4F89-A861-5ECE4EC56E44}"/>
              </a:ext>
            </a:extLst>
          </p:cNvPr>
          <p:cNvGraphicFramePr/>
          <p:nvPr>
            <p:custDataLst>
              <p:tags r:id="rId9"/>
            </p:custDataLst>
            <p:extLst/>
          </p:nvPr>
        </p:nvGraphicFramePr>
        <p:xfrm>
          <a:off x="514350" y="3155950"/>
          <a:ext cx="2374900" cy="237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B5BB8E0C-8FB3-7F99-F1E9-8B02D0D020CF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287463" y="4098925"/>
            <a:ext cx="830263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number}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0423688D-2836-9272-C700-D58F27FC9F9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23353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comparisons, percent, percentage, progress, think-cell, diagram</a:t>
            </a:r>
          </a:p>
        </p:txBody>
      </p:sp>
    </p:spTree>
    <p:extLst>
      <p:ext uri="{BB962C8B-B14F-4D97-AF65-F5344CB8AC3E}">
        <p14:creationId xmlns:p14="http://schemas.microsoft.com/office/powerpoint/2010/main" val="7838894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efwcT1hYolQdX_ScsQ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26pmEoa0dX6IzRsOx8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LBUmuoutEfbOhpoM.8Q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ax3dIFqOdVKBEoz3sa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1B25.bH75S3V2SV3Oi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PKIvUPfI7VdW6usVf8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ZCuRRnLGmS78XAw4Yl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CGkUS37srlwVZ11fUy9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47</Words>
  <Application>Microsoft Office PowerPoint</Application>
  <PresentationFormat>宽屏</PresentationFormat>
  <Paragraphs>19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44:17Z</dcterms:created>
  <dcterms:modified xsi:type="dcterms:W3CDTF">2025-09-04T05:45:37Z</dcterms:modified>
</cp:coreProperties>
</file>